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6" r:id="rId2"/>
    <p:sldId id="257" r:id="rId3"/>
    <p:sldId id="258" r:id="rId4"/>
    <p:sldId id="259" r:id="rId5"/>
  </p:sldIdLst>
  <p:sldSz cx="12192000" cy="6858000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C6504A"/>
    <a:srgbClr val="4A82BD"/>
    <a:srgbClr val="BD0A79"/>
    <a:srgbClr val="163E80"/>
    <a:srgbClr val="FFFF99"/>
    <a:srgbClr val="FDC086"/>
    <a:srgbClr val="BEAED4"/>
    <a:srgbClr val="7FC97F"/>
    <a:srgbClr val="EF04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549" autoAdjust="0"/>
    <p:restoredTop sz="87602" autoAdjust="0"/>
  </p:normalViewPr>
  <p:slideViewPr>
    <p:cSldViewPr snapToGrid="0">
      <p:cViewPr varScale="1">
        <p:scale>
          <a:sx n="94" d="100"/>
          <a:sy n="94" d="100"/>
        </p:scale>
        <p:origin x="546" y="90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297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BE121C-5EEE-4154-81B3-9744972DD6C5}" type="datetimeFigureOut">
              <a:rPr lang="de-DE" smtClean="0"/>
              <a:t>11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FD4608-8825-4D0E-AD63-E1AEA89BDE9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309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425451" y="1978721"/>
            <a:ext cx="11345332" cy="1274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11130180" y="6408271"/>
            <a:ext cx="766981" cy="35858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38686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25453" y="1772816"/>
            <a:ext cx="11345332" cy="435334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6B8CD2-094D-4869-B5E4-F56BC27D72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9233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dirty="0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1665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425454" y="1762984"/>
            <a:ext cx="5670545" cy="435334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425454" y="994335"/>
            <a:ext cx="11345332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30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478F18-34E2-45E6-86A4-438A6A0E2C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5999" y="1762984"/>
            <a:ext cx="5670545" cy="4353347"/>
          </a:xfrm>
          <a:prstGeom prst="rect">
            <a:avLst/>
          </a:prstGeom>
        </p:spPr>
        <p:txBody>
          <a:bodyPr/>
          <a:lstStyle>
            <a:lvl1pPr>
              <a:defRPr lang="de-DE" sz="2400" dirty="0" smtClean="0"/>
            </a:lvl1pPr>
            <a:lvl2pPr>
              <a:defRPr lang="de-DE" sz="1800" dirty="0" smtClean="0"/>
            </a:lvl2pPr>
            <a:lvl3pPr>
              <a:defRPr lang="de-DE" sz="1200" dirty="0" smtClean="0"/>
            </a:lvl3pPr>
            <a:lvl4pPr>
              <a:defRPr lang="de-DE" sz="1200" dirty="0" smtClean="0"/>
            </a:lvl4pPr>
            <a:lvl5pPr>
              <a:defRPr lang="de-DE" sz="1200" dirty="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B9DE17E0-3A54-4BA6-A799-97C5C22195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0498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e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DDCD748-9DDD-75F0-2A73-6BCE4A10A5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0147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4D10285-673E-F950-C32A-6D2B94E5EED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7235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EB3ED4E-F539-4E08-8CA6-30E6274FD3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95" imgH="394" progId="TCLayout.ActiveDocument.1">
                  <p:embed/>
                </p:oleObj>
              </mc:Choice>
              <mc:Fallback>
                <p:oleObj name="think-cell Folie" r:id="rId8" imgW="395" imgH="39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EB3ED4E-F539-4E08-8CA6-30E6274FD3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4"/>
          <p:cNvSpPr txBox="1">
            <a:spLocks/>
          </p:cNvSpPr>
          <p:nvPr userDrawn="1"/>
        </p:nvSpPr>
        <p:spPr>
          <a:xfrm>
            <a:off x="9033245" y="6473314"/>
            <a:ext cx="27360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+mn-lt"/>
                <a:ea typeface="+mn-ea"/>
                <a:cs typeface="Times New Roman" pitchFamily="18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Times New Roman" pitchFamily="18" charset="0"/>
              </a:defRPr>
            </a:lvl9pPr>
          </a:lstStyle>
          <a:p>
            <a:fld id="{CE58CB1E-F828-4F11-99E0-327109AF9DA4}" type="slidenum">
              <a:rPr lang="de-DE" sz="1200" smtClean="0"/>
              <a:pPr/>
              <a:t>‹Nr.›</a:t>
            </a:fld>
            <a:endParaRPr lang="de-DE" sz="120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56FAAFAC-2B15-48BE-B8D7-10387D987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4883" y="6473314"/>
            <a:ext cx="861904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Name | Datum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AB76583-39B2-E204-2CD0-BB7D09B56C2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5337" y="186220"/>
            <a:ext cx="1669462" cy="62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260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55C38BF-00A1-80D5-F426-718AABBF05E3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5C8BA98-B3F3-130A-D0B6-DEFA73576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2987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89DF1A0-6739-5FED-6A61-DB8E01335C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88927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5B52908-EF91-A079-F0FC-7BC1950A01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27062E8-4379-EC61-B34A-EF35A0D3F7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31226A2-980B-8D27-E6F7-313C1A32CC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448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92A3559-FD2B-6BB3-BA1C-45B5CA4331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2569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4" progId="TCLayout.ActiveDocument.1">
                  <p:embed/>
                </p:oleObj>
              </mc:Choice>
              <mc:Fallback>
                <p:oleObj name="think-cell Foli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33295A0-4714-540E-515F-B932C8AD47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F38EFB70-5A37-397F-A11B-152633F24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4DFFDD1-CB23-7C8E-8258-DB0311255D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B1985F9-17EE-A762-07CF-549EC0AA74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2995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34CA23E-4546-FB2C-EA6D-2FD421C536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Name | Datu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733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</Words>
  <Application>Microsoft Office PowerPoint</Application>
  <PresentationFormat>Breitbild</PresentationFormat>
  <Paragraphs>3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Symbol</vt:lpstr>
      <vt:lpstr>Titel 3</vt:lpstr>
      <vt:lpstr>think-cell Folie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Lea Rosenberger</dc:creator>
  <cp:lastModifiedBy>Lea Rosenberger</cp:lastModifiedBy>
  <cp:revision>243</cp:revision>
  <dcterms:created xsi:type="dcterms:W3CDTF">2021-10-26T07:15:28Z</dcterms:created>
  <dcterms:modified xsi:type="dcterms:W3CDTF">2023-04-11T11:52:54Z</dcterms:modified>
</cp:coreProperties>
</file>